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omments/modernComment_7BBF5833_E855211E.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BBF582C_7916BD30.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comments/modernComment_7BBF56CE_FAE02A9C.xml" ContentType="application/vnd.ms-powerpoint.comments+xml"/>
  <Override PartName="/ppt/notesSlides/notesSlide10.xml" ContentType="application/vnd.openxmlformats-officedocument.presentationml.notesSlide+xml"/>
  <Override PartName="/ppt/comments/modernComment_7BBF5832_72B077DC.xml" ContentType="application/vnd.ms-powerpoint.comments+xml"/>
  <Override PartName="/ppt/tags/tag2.xml" ContentType="application/vnd.openxmlformats-officedocument.presentationml.tags+xml"/>
  <Override PartName="/ppt/notesSlides/notesSlide11.xml" ContentType="application/vnd.openxmlformats-officedocument.presentationml.notesSlide+xml"/>
  <Override PartName="/ppt/comments/modernComment_7BBF5831_90A4E7C0.xml" ContentType="application/vnd.ms-powerpoint.comments+xml"/>
  <Override PartName="/ppt/notesSlides/notesSlide12.xml" ContentType="application/vnd.openxmlformats-officedocument.presentationml.notesSlide+xml"/>
  <Override PartName="/ppt/comments/modernComment_7BBF555C_1D4579CB.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2"/>
  </p:notesMasterIdLst>
  <p:sldIdLst>
    <p:sldId id="2076137761" r:id="rId10"/>
    <p:sldId id="207613776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53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B797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93719" autoAdjust="0"/>
  </p:normalViewPr>
  <p:slideViewPr>
    <p:cSldViewPr snapToGrid="0">
      <p:cViewPr varScale="1">
        <p:scale>
          <a:sx n="77" d="100"/>
          <a:sy n="77" d="100"/>
        </p:scale>
        <p:origin x="62"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rgbClr val="6600FF"/>
          </a:solidFill>
        </a:ln>
      </dgm:spPr>
      <dgm:t>
        <a:bodyPr/>
        <a:lstStyle/>
        <a:p>
          <a:r>
            <a:rPr lang="en-AU" sz="1100" dirty="0"/>
            <a:t>Day 1 – Part I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1 – Part II</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9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 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2 – Part I</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2 – Part II</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DC1AB3C9-E76A-4172-85C2-F2254809A15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 Apps</a:t>
          </a:r>
        </a:p>
      </dgm:t>
    </dgm:pt>
    <dgm:pt modelId="{C5D9562B-6B57-4AC9-BF23-4DE294D9CCC0}" type="parTrans" cxnId="{F9C9F39C-7EC0-43C6-9FB2-54FA2A754ED4}">
      <dgm:prSet/>
      <dgm:spPr/>
      <dgm:t>
        <a:bodyPr/>
        <a:lstStyle/>
        <a:p>
          <a:endParaRPr lang="en-GB"/>
        </a:p>
      </dgm:t>
    </dgm:pt>
    <dgm:pt modelId="{166C141F-AA0E-4C97-B1EA-A06F2DE1C2CA}" type="sibTrans" cxnId="{F9C9F39C-7EC0-43C6-9FB2-54FA2A754ED4}">
      <dgm:prSet/>
      <dgm:spPr/>
      <dgm:t>
        <a:bodyPr/>
        <a:lstStyle/>
        <a:p>
          <a:endParaRPr lang="en-GB"/>
        </a:p>
      </dgm:t>
    </dgm:pt>
    <dgm:pt modelId="{6F7084A3-F6F4-4055-8404-3AB7D7F43B45}">
      <dgm:prSet custT="1"/>
      <dgm:spPr/>
      <dgm:t>
        <a:bodyPr/>
        <a:lstStyle/>
        <a:p>
          <a:pPr>
            <a:lnSpc>
              <a:spcPct val="150000"/>
            </a:lnSpc>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 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FB834508-C913-4467-8009-DCEB15E722F0}" type="parTrans" cxnId="{EBA58CA9-A3CE-412F-9474-7EAFF04D075A}">
      <dgm:prSet/>
      <dgm:spPr/>
      <dgm:t>
        <a:bodyPr/>
        <a:lstStyle/>
        <a:p>
          <a:endParaRPr lang="en-GB"/>
        </a:p>
      </dgm:t>
    </dgm:pt>
    <dgm:pt modelId="{06B3AF3A-C83F-448F-BA86-3585D21C19DD}" type="sibTrans" cxnId="{EBA58CA9-A3CE-412F-9474-7EAFF04D075A}">
      <dgm:prSet/>
      <dgm:spPr/>
      <dgm:t>
        <a:bodyPr/>
        <a:lstStyle/>
        <a:p>
          <a:endParaRPr lang="en-GB"/>
        </a:p>
      </dgm:t>
    </dgm:pt>
    <dgm:pt modelId="{733AC198-8C9A-4B42-9E53-02CEB15F3C9F}">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 Apps</a:t>
          </a:r>
        </a:p>
      </dgm:t>
    </dgm:pt>
    <dgm:pt modelId="{0608B9E6-3495-41C4-8CB6-E742C70D3BD5}" type="parTrans" cxnId="{71F5C5CE-76D8-4EC7-A21E-453AF89BD604}">
      <dgm:prSet/>
      <dgm:spPr/>
      <dgm:t>
        <a:bodyPr/>
        <a:lstStyle/>
        <a:p>
          <a:endParaRPr lang="en-GB"/>
        </a:p>
      </dgm:t>
    </dgm:pt>
    <dgm:pt modelId="{4C7AF5B8-74FC-4ECC-8F44-8EC6EDA79510}" type="sibTrans" cxnId="{71F5C5CE-76D8-4EC7-A21E-453AF89BD604}">
      <dgm:prSet/>
      <dgm:spPr/>
      <dgm:t>
        <a:bodyPr/>
        <a:lstStyle/>
        <a:p>
          <a:endParaRPr lang="en-GB"/>
        </a:p>
      </dgm:t>
    </dgm:pt>
    <dgm:pt modelId="{DDB2D429-A54B-474B-9DCF-A0E6B52D46DA}">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B3BE7EFD-D6E0-4FFE-9245-9412FF200740}" type="parTrans" cxnId="{CE4D4D1E-7755-456F-BC4E-8D9B3E3BB04A}">
      <dgm:prSet/>
      <dgm:spPr/>
      <dgm:t>
        <a:bodyPr/>
        <a:lstStyle/>
        <a:p>
          <a:endParaRPr lang="en-GB"/>
        </a:p>
      </dgm:t>
    </dgm:pt>
    <dgm:pt modelId="{08ECC846-92B0-466D-8FBC-C4D6AC294A79}" type="sibTrans" cxnId="{CE4D4D1E-7755-456F-BC4E-8D9B3E3BB04A}">
      <dgm:prSet/>
      <dgm:spPr/>
      <dgm:t>
        <a:bodyPr/>
        <a:lstStyle/>
        <a:p>
          <a:endParaRPr lang="en-GB"/>
        </a:p>
      </dgm:t>
    </dgm:pt>
    <dgm:pt modelId="{CD46F9DC-3097-44BC-84D4-73B85CEB5AD8}">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F5D89BF0-17D8-44A5-BA06-5DED91DD8CC8}" type="parTrans" cxnId="{AF7BF292-2C27-461D-853B-8C4CA561F6AD}">
      <dgm:prSet/>
      <dgm:spPr/>
      <dgm:t>
        <a:bodyPr/>
        <a:lstStyle/>
        <a:p>
          <a:endParaRPr lang="en-GB"/>
        </a:p>
      </dgm:t>
    </dgm:pt>
    <dgm:pt modelId="{49003F09-2FDB-479F-BDDC-77A41BFD5C88}" type="sibTrans" cxnId="{AF7BF292-2C27-461D-853B-8C4CA561F6AD}">
      <dgm:prSet/>
      <dgm:spPr/>
      <dgm:t>
        <a:bodyPr/>
        <a:lstStyle/>
        <a:p>
          <a:endParaRPr lang="en-GB"/>
        </a:p>
      </dgm:t>
    </dgm:pt>
    <dgm:pt modelId="{893E7C06-D653-47A6-AE1C-68D245AF3E64}">
      <dgm:prSet custT="1"/>
      <dgm:spPr/>
      <dgm:t>
        <a:bodyPr/>
        <a:lstStyle/>
        <a:p>
          <a:pPr>
            <a:lnSpc>
              <a:spcPct val="150000"/>
            </a:lnSpc>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3933C5AD-E0BA-4B92-AAA9-061A899CA552}" type="parTrans" cxnId="{B5363AA6-367E-4352-9210-91B6613AEB54}">
      <dgm:prSet/>
      <dgm:spPr/>
      <dgm:t>
        <a:bodyPr/>
        <a:lstStyle/>
        <a:p>
          <a:endParaRPr lang="en-GB"/>
        </a:p>
      </dgm:t>
    </dgm:pt>
    <dgm:pt modelId="{2CB8B4CF-883F-4D1D-926C-DAE94DA4D2AC}" type="sibTrans" cxnId="{B5363AA6-367E-4352-9210-91B6613AEB54}">
      <dgm:prSet/>
      <dgm:spPr/>
      <dgm:t>
        <a:bodyPr/>
        <a:lstStyle/>
        <a:p>
          <a:endParaRPr lang="en-GB"/>
        </a:p>
      </dgm:t>
    </dgm:pt>
    <dgm:pt modelId="{54C72AF5-701B-4378-8525-F1DF460F34ED}">
      <dgm:prSet custT="1"/>
      <dgm:spPr/>
      <dgm:t>
        <a:bodyPr/>
        <a:lstStyle/>
        <a:p>
          <a:pPr>
            <a:lnSpc>
              <a:spcPct val="150000"/>
            </a:lnSpc>
            <a:buFont typeface="Wingdings" panose="05000000000000000000" pitchFamily="2" charset="2"/>
            <a:buChar char="ü"/>
          </a:pPr>
          <a:r>
            <a:rPr lang="en-GB" sz="1100" dirty="0"/>
            <a:t>Types of Data</a:t>
          </a:r>
        </a:p>
      </dgm:t>
    </dgm:pt>
    <dgm:pt modelId="{5D5C2022-D69D-486A-9984-619FA0DA17BE}" type="parTrans" cxnId="{A9AB27D9-AB37-4556-8F6E-CCDE59F2CF86}">
      <dgm:prSet/>
      <dgm:spPr/>
      <dgm:t>
        <a:bodyPr/>
        <a:lstStyle/>
        <a:p>
          <a:endParaRPr lang="en-GB"/>
        </a:p>
      </dgm:t>
    </dgm:pt>
    <dgm:pt modelId="{8D515924-C436-4473-8074-31B0016C1AC1}" type="sibTrans" cxnId="{A9AB27D9-AB37-4556-8F6E-CCDE59F2CF86}">
      <dgm:prSet/>
      <dgm:spPr/>
      <dgm:t>
        <a:bodyPr/>
        <a:lstStyle/>
        <a:p>
          <a:endParaRPr lang="en-GB"/>
        </a:p>
      </dgm:t>
    </dgm:pt>
    <dgm:pt modelId="{3A49676A-F985-4612-8E3F-B09E7F5953A5}">
      <dgm:prSet custT="1"/>
      <dgm:spPr/>
      <dgm:t>
        <a:bodyPr/>
        <a:lstStyle/>
        <a:p>
          <a:pPr>
            <a:lnSpc>
              <a:spcPct val="150000"/>
            </a:lnSpc>
            <a:buFont typeface="Wingdings" panose="05000000000000000000" pitchFamily="2" charset="2"/>
            <a:buChar char="ü"/>
          </a:pPr>
          <a:r>
            <a:rPr lang="en-GB" sz="1100" dirty="0" err="1"/>
            <a:t>Dataverse</a:t>
          </a:r>
          <a:endParaRPr lang="en-GB" sz="1100" dirty="0"/>
        </a:p>
      </dgm:t>
    </dgm:pt>
    <dgm:pt modelId="{373F37CE-C981-4F7A-B1CC-0C2867E61ADA}" type="parTrans" cxnId="{1A79C8F4-053A-42E7-9A59-549B72D27189}">
      <dgm:prSet/>
      <dgm:spPr/>
      <dgm:t>
        <a:bodyPr/>
        <a:lstStyle/>
        <a:p>
          <a:endParaRPr lang="en-GB"/>
        </a:p>
      </dgm:t>
    </dgm:pt>
    <dgm:pt modelId="{0F4E1333-36B3-49FC-BCE9-7962A7ABD1D4}" type="sibTrans" cxnId="{1A79C8F4-053A-42E7-9A59-549B72D27189}">
      <dgm:prSet/>
      <dgm:spPr/>
      <dgm:t>
        <a:bodyPr/>
        <a:lstStyle/>
        <a:p>
          <a:endParaRPr lang="en-GB"/>
        </a:p>
      </dgm:t>
    </dgm:pt>
    <dgm:pt modelId="{7A35B426-1F7B-470E-83C9-8B734CBF59CF}">
      <dgm:prSet custT="1"/>
      <dgm:spPr/>
      <dgm:t>
        <a:bodyPr/>
        <a:lstStyle/>
        <a:p>
          <a:pPr>
            <a:lnSpc>
              <a:spcPct val="150000"/>
            </a:lnSpc>
            <a:buFont typeface="Wingdings" panose="05000000000000000000" pitchFamily="2" charset="2"/>
            <a:buChar char="ü"/>
          </a:pPr>
          <a:r>
            <a:rPr lang="en-GB" sz="1100" dirty="0"/>
            <a:t>Model-driven Apps</a:t>
          </a:r>
        </a:p>
      </dgm:t>
    </dgm:pt>
    <dgm:pt modelId="{4D6F01C8-1B7B-4631-8135-A5886B2B0D75}" type="parTrans" cxnId="{BFCC3057-757D-408F-B91D-CED24E8925F4}">
      <dgm:prSet/>
      <dgm:spPr/>
      <dgm:t>
        <a:bodyPr/>
        <a:lstStyle/>
        <a:p>
          <a:endParaRPr lang="en-GB"/>
        </a:p>
      </dgm:t>
    </dgm:pt>
    <dgm:pt modelId="{C1D13965-F077-4D0D-AF66-F16ABF1EB9AC}" type="sibTrans" cxnId="{BFCC3057-757D-408F-B91D-CED24E8925F4}">
      <dgm:prSet/>
      <dgm:spPr/>
      <dgm:t>
        <a:bodyPr/>
        <a:lstStyle/>
        <a:p>
          <a:endParaRPr lang="en-GB"/>
        </a:p>
      </dgm:t>
    </dgm:pt>
    <dgm:pt modelId="{0F8B0C98-A74B-4E44-B92F-2CAB105C195E}">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75ADCC08-01ED-4D06-A1CC-F0123111E0EE}" type="parTrans" cxnId="{E2FE5168-614E-4332-9434-C2A45F9788E4}">
      <dgm:prSet/>
      <dgm:spPr/>
      <dgm:t>
        <a:bodyPr/>
        <a:lstStyle/>
        <a:p>
          <a:endParaRPr lang="en-GB"/>
        </a:p>
      </dgm:t>
    </dgm:pt>
    <dgm:pt modelId="{5D083F13-5804-4978-8269-5CEC2CDF2CEE}" type="sibTrans" cxnId="{E2FE5168-614E-4332-9434-C2A45F9788E4}">
      <dgm:prSet/>
      <dgm:spPr/>
      <dgm:t>
        <a:bodyPr/>
        <a:lstStyle/>
        <a:p>
          <a:endParaRPr lang="en-GB"/>
        </a:p>
      </dgm:t>
    </dgm:pt>
    <dgm:pt modelId="{ACC56B55-B54D-4F97-A978-D694743ADE3E}">
      <dgm:prSet custT="1"/>
      <dgm:spPr/>
      <dgm:t>
        <a:bodyPr/>
        <a:lstStyle/>
        <a:p>
          <a:pPr>
            <a:lnSpc>
              <a:spcPct val="150000"/>
            </a:lnSpc>
            <a:buFont typeface="Wingdings" panose="05000000000000000000" pitchFamily="2" charset="2"/>
            <a:buChar char="ü"/>
          </a:pPr>
          <a:r>
            <a:rPr lang="en-GB" sz="1100" dirty="0"/>
            <a:t>Data model design</a:t>
          </a:r>
        </a:p>
      </dgm:t>
    </dgm:pt>
    <dgm:pt modelId="{272886AB-B1F7-4E40-90B4-C7960DBE4BC6}" type="parTrans" cxnId="{82BD830C-0890-4944-9670-1030FAFDAD36}">
      <dgm:prSet/>
      <dgm:spPr/>
      <dgm:t>
        <a:bodyPr/>
        <a:lstStyle/>
        <a:p>
          <a:endParaRPr lang="en-GB"/>
        </a:p>
      </dgm:t>
    </dgm:pt>
    <dgm:pt modelId="{88310FBB-C995-488E-B9E4-06601E9529A4}" type="sibTrans" cxnId="{82BD830C-0890-4944-9670-1030FAFDAD36}">
      <dgm:prSet/>
      <dgm:spPr/>
      <dgm:t>
        <a:bodyPr/>
        <a:lstStyle/>
        <a:p>
          <a:endParaRPr lang="en-GB"/>
        </a:p>
      </dgm:t>
    </dgm:pt>
    <dgm:pt modelId="{722059E4-A748-4A8B-8781-AB6D2D353394}">
      <dgm:prSet custT="1"/>
      <dgm:spPr/>
      <dgm:t>
        <a:bodyPr/>
        <a:lstStyle/>
        <a:p>
          <a:pPr>
            <a:lnSpc>
              <a:spcPct val="150000"/>
            </a:lnSpc>
            <a:buFont typeface="Wingdings" panose="05000000000000000000" pitchFamily="2" charset="2"/>
            <a:buChar char="ü"/>
          </a:pPr>
          <a:r>
            <a:rPr lang="en-GB" sz="1100" dirty="0"/>
            <a:t>Demo</a:t>
          </a:r>
        </a:p>
      </dgm:t>
    </dgm:pt>
    <dgm:pt modelId="{E0F69483-11ED-4B91-9141-56F9A481AC2E}" type="parTrans" cxnId="{70EFA57B-C632-41A4-8FD1-52474CE9C91B}">
      <dgm:prSet/>
      <dgm:spPr/>
      <dgm:t>
        <a:bodyPr/>
        <a:lstStyle/>
        <a:p>
          <a:endParaRPr lang="en-GB"/>
        </a:p>
      </dgm:t>
    </dgm:pt>
    <dgm:pt modelId="{BF0F9C3A-7161-435E-B116-A646B86BE65D}" type="sibTrans" cxnId="{70EFA57B-C632-41A4-8FD1-52474CE9C91B}">
      <dgm:prSet/>
      <dgm:spPr/>
      <dgm:t>
        <a:bodyPr/>
        <a:lstStyle/>
        <a:p>
          <a:endParaRPr lang="en-GB"/>
        </a:p>
      </dgm:t>
    </dgm:pt>
    <dgm:pt modelId="{CA39C776-1E27-4904-8DB3-2D5DD7EBBFFA}">
      <dgm:prSet custT="1"/>
      <dgm:spPr/>
      <dgm:t>
        <a:bodyPr/>
        <a:lstStyle/>
        <a:p>
          <a:pPr>
            <a:lnSpc>
              <a:spcPct val="150000"/>
            </a:lnSpc>
            <a:buFont typeface="Wingdings" panose="05000000000000000000" pitchFamily="2" charset="2"/>
            <a:buChar char="ü"/>
          </a:pPr>
          <a:r>
            <a:rPr lang="en-GB" sz="1100" dirty="0"/>
            <a:t>Types of flow</a:t>
          </a:r>
        </a:p>
      </dgm:t>
    </dgm:pt>
    <dgm:pt modelId="{9C148EF5-537F-4960-9314-AAD245B07C3D}" type="parTrans" cxnId="{93471932-2A34-4FFA-8040-DA64249AFE39}">
      <dgm:prSet/>
      <dgm:spPr/>
      <dgm:t>
        <a:bodyPr/>
        <a:lstStyle/>
        <a:p>
          <a:endParaRPr lang="en-GB"/>
        </a:p>
      </dgm:t>
    </dgm:pt>
    <dgm:pt modelId="{3F1D3250-0E7C-4F77-8EED-C20DDC838F8B}" type="sibTrans" cxnId="{93471932-2A34-4FFA-8040-DA64249AFE39}">
      <dgm:prSet/>
      <dgm:spPr/>
      <dgm:t>
        <a:bodyPr/>
        <a:lstStyle/>
        <a:p>
          <a:endParaRPr lang="en-GB"/>
        </a:p>
      </dgm:t>
    </dgm:pt>
    <dgm:pt modelId="{ACF45D7E-EB1D-4123-9D63-5147010D7F29}">
      <dgm:prSet custT="1"/>
      <dgm:spPr/>
      <dgm:t>
        <a:bodyPr/>
        <a:lstStyle/>
        <a:p>
          <a:pPr>
            <a:lnSpc>
              <a:spcPct val="150000"/>
            </a:lnSpc>
            <a:buFont typeface="Wingdings" panose="05000000000000000000" pitchFamily="2" charset="2"/>
            <a:buChar char="ü"/>
          </a:pPr>
          <a:r>
            <a:rPr lang="en-GB" sz="1100" dirty="0"/>
            <a:t>Data types and expression</a:t>
          </a:r>
        </a:p>
      </dgm:t>
    </dgm:pt>
    <dgm:pt modelId="{33ACDDAE-76C8-4C30-BF80-07F97DBB8120}" type="parTrans" cxnId="{389F8231-A005-4059-8AFB-6DAFB98A445F}">
      <dgm:prSet/>
      <dgm:spPr/>
      <dgm:t>
        <a:bodyPr/>
        <a:lstStyle/>
        <a:p>
          <a:endParaRPr lang="en-GB"/>
        </a:p>
      </dgm:t>
    </dgm:pt>
    <dgm:pt modelId="{9213C03E-45C7-45C9-8C29-4213FA7D41B9}" type="sibTrans" cxnId="{389F8231-A005-4059-8AFB-6DAFB98A445F}">
      <dgm:prSet/>
      <dgm:spPr/>
      <dgm:t>
        <a:bodyPr/>
        <a:lstStyle/>
        <a:p>
          <a:endParaRPr lang="en-GB"/>
        </a:p>
      </dgm:t>
    </dgm:pt>
    <dgm:pt modelId="{401F0372-7C1A-47C1-ADD7-711995422879}">
      <dgm:prSet custT="1"/>
      <dgm:spPr/>
      <dgm:t>
        <a:bodyPr/>
        <a:lstStyle/>
        <a:p>
          <a:pPr>
            <a:lnSpc>
              <a:spcPct val="150000"/>
            </a:lnSpc>
            <a:buFont typeface="Wingdings" panose="05000000000000000000" pitchFamily="2" charset="2"/>
            <a:buChar char="ü"/>
          </a:pPr>
          <a:r>
            <a:rPr lang="en-GB" sz="1100" dirty="0"/>
            <a:t>Working with Arrays</a:t>
          </a:r>
        </a:p>
      </dgm:t>
    </dgm:pt>
    <dgm:pt modelId="{FA7CC548-1847-4128-BA6E-3149BCFABE1E}" type="parTrans" cxnId="{ED84E10E-4758-4D92-A8D4-883E33538944}">
      <dgm:prSet/>
      <dgm:spPr/>
      <dgm:t>
        <a:bodyPr/>
        <a:lstStyle/>
        <a:p>
          <a:endParaRPr lang="en-GB"/>
        </a:p>
      </dgm:t>
    </dgm:pt>
    <dgm:pt modelId="{0F96B1C2-B14D-48B3-9213-F2B58460E366}" type="sibTrans" cxnId="{ED84E10E-4758-4D92-A8D4-883E33538944}">
      <dgm:prSet/>
      <dgm:spPr/>
      <dgm:t>
        <a:bodyPr/>
        <a:lstStyle/>
        <a:p>
          <a:endParaRPr lang="en-GB"/>
        </a:p>
      </dgm:t>
    </dgm:pt>
    <dgm:pt modelId="{B9E04480-191E-4EE4-B47A-C7D607722DD4}">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BAA74BFC-6D7F-4481-B325-0A977FA4DEB0}" type="parTrans" cxnId="{56200E4F-CCD6-4F7B-857D-4C07847374F7}">
      <dgm:prSet/>
      <dgm:spPr/>
      <dgm:t>
        <a:bodyPr/>
        <a:lstStyle/>
        <a:p>
          <a:endParaRPr lang="en-GB"/>
        </a:p>
      </dgm:t>
    </dgm:pt>
    <dgm:pt modelId="{62E32415-EA97-4C50-B59F-BA185762F1ED}" type="sibTrans" cxnId="{56200E4F-CCD6-4F7B-857D-4C07847374F7}">
      <dgm:prSet/>
      <dgm:spPr/>
      <dgm:t>
        <a:bodyPr/>
        <a:lstStyle/>
        <a:p>
          <a:endParaRPr lang="en-GB"/>
        </a:p>
      </dgm:t>
    </dgm:pt>
    <dgm:pt modelId="{C657AF91-1E17-40EF-9890-50B43ED87700}">
      <dgm:prSet custT="1"/>
      <dgm:spPr/>
      <dgm:t>
        <a:bodyPr/>
        <a:lstStyle/>
        <a:p>
          <a:pPr>
            <a:lnSpc>
              <a:spcPct val="150000"/>
            </a:lnSpc>
            <a:buFont typeface="Wingdings" panose="05000000000000000000" pitchFamily="2" charset="2"/>
            <a:buChar char="ü"/>
          </a:pPr>
          <a:r>
            <a:rPr lang="en-GB" sz="1100" dirty="0"/>
            <a:t>Demo</a:t>
          </a:r>
        </a:p>
      </dgm:t>
    </dgm:pt>
    <dgm:pt modelId="{55676C19-027A-4706-9920-9F38CB78BB55}" type="parTrans" cxnId="{3E422639-45BD-4ECC-8D61-FEA975A3F6A7}">
      <dgm:prSet/>
      <dgm:spPr/>
      <dgm:t>
        <a:bodyPr/>
        <a:lstStyle/>
        <a:p>
          <a:endParaRPr lang="en-GB"/>
        </a:p>
      </dgm:t>
    </dgm:pt>
    <dgm:pt modelId="{BE406468-ACD9-48DC-8128-CF031B39F537}" type="sibTrans" cxnId="{3E422639-45BD-4ECC-8D61-FEA975A3F6A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4">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4">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4">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4">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4">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4">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4">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4">
        <dgm:presLayoutVars>
          <dgm:bulletEnabled val="1"/>
        </dgm:presLayoutVars>
      </dgm:prSet>
      <dgm:spPr/>
    </dgm:pt>
  </dgm:ptLst>
  <dgm:cxnLst>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77F1DE0B-593D-46F9-9A6C-3926F96637F8}" type="presOf" srcId="{54C72AF5-701B-4378-8525-F1DF460F34ED}" destId="{FE6D297C-C9E0-4A7D-A12A-BA53DEE78AEC}" srcOrd="0" destOrd="1" presId="urn:microsoft.com/office/officeart/2005/8/layout/hList1"/>
    <dgm:cxn modelId="{82BD830C-0890-4944-9670-1030FAFDAD36}" srcId="{AA0CC1A4-89B3-4AA2-AE39-4C1399639CA2}" destId="{ACC56B55-B54D-4F97-A978-D694743ADE3E}" srcOrd="5" destOrd="0" parTransId="{272886AB-B1F7-4E40-90B4-C7960DBE4BC6}" sibTransId="{88310FBB-C995-488E-B9E4-06601E9529A4}"/>
    <dgm:cxn modelId="{ED84E10E-4758-4D92-A8D4-883E33538944}" srcId="{639BF8EA-4D33-4B30-911B-6776BADCAC46}" destId="{401F0372-7C1A-47C1-ADD7-711995422879}" srcOrd="3" destOrd="0" parTransId="{FA7CC548-1847-4128-BA6E-3149BCFABE1E}" sibTransId="{0F96B1C2-B14D-48B3-9213-F2B58460E366}"/>
    <dgm:cxn modelId="{37581F1C-5334-445E-829C-72AF65A4BDB2}" type="presOf" srcId="{AA0CC1A4-89B3-4AA2-AE39-4C1399639CA2}" destId="{6D51457A-C3C5-41AF-B616-CDB4705EBFBD}" srcOrd="0" destOrd="0" presId="urn:microsoft.com/office/officeart/2005/8/layout/hList1"/>
    <dgm:cxn modelId="{CE4D4D1E-7755-456F-BC4E-8D9B3E3BB04A}" srcId="{5D730ECF-5E56-4BCC-9295-01AA7310EDA9}" destId="{DDB2D429-A54B-474B-9DCF-A0E6B52D46DA}" srcOrd="4" destOrd="0" parTransId="{B3BE7EFD-D6E0-4FFE-9245-9412FF200740}" sibTransId="{08ECC846-92B0-466D-8FBC-C4D6AC294A79}"/>
    <dgm:cxn modelId="{803A602C-5B01-40EC-BFAD-279105D23941}" type="presOf" srcId="{0CF6FF1F-C08F-4FC3-A083-8DE69E9808EC}" destId="{F9540AD5-4F34-4720-A853-23023519F2F5}" srcOrd="0" destOrd="4" presId="urn:microsoft.com/office/officeart/2005/8/layout/hList1"/>
    <dgm:cxn modelId="{389F8231-A005-4059-8AFB-6DAFB98A445F}" srcId="{639BF8EA-4D33-4B30-911B-6776BADCAC46}" destId="{ACF45D7E-EB1D-4123-9D63-5147010D7F29}" srcOrd="2" destOrd="0" parTransId="{33ACDDAE-76C8-4C30-BF80-07F97DBB8120}" sibTransId="{9213C03E-45C7-45C9-8C29-4213FA7D41B9}"/>
    <dgm:cxn modelId="{93471932-2A34-4FFA-8040-DA64249AFE39}" srcId="{639BF8EA-4D33-4B30-911B-6776BADCAC46}" destId="{CA39C776-1E27-4904-8DB3-2D5DD7EBBFFA}" srcOrd="1" destOrd="0" parTransId="{9C148EF5-537F-4960-9314-AAD245B07C3D}" sibTransId="{3F1D3250-0E7C-4F77-8EED-C20DDC838F8B}"/>
    <dgm:cxn modelId="{3E422639-45BD-4ECC-8D61-FEA975A3F6A7}" srcId="{639BF8EA-4D33-4B30-911B-6776BADCAC46}" destId="{C657AF91-1E17-40EF-9890-50B43ED87700}" srcOrd="5" destOrd="0" parTransId="{55676C19-027A-4706-9920-9F38CB78BB55}" sibTransId="{BE406468-ACD9-48DC-8128-CF031B39F537}"/>
    <dgm:cxn modelId="{55754E5C-3147-44A5-89C7-7517FAF11EB9}" type="presOf" srcId="{ACF45D7E-EB1D-4123-9D63-5147010D7F29}" destId="{569DA3D3-C2E5-4089-A6F0-CF7A0DE5293E}" srcOrd="0" destOrd="2" presId="urn:microsoft.com/office/officeart/2005/8/layout/hList1"/>
    <dgm:cxn modelId="{227F285F-07B4-4102-AA0F-9D3E0C5486BE}" type="presOf" srcId="{733AC198-8C9A-4B42-9E53-02CEB15F3C9F}" destId="{CD66AAD5-A74B-4989-8AD5-348B79FA87C7}" srcOrd="0" destOrd="3" presId="urn:microsoft.com/office/officeart/2005/8/layout/hList1"/>
    <dgm:cxn modelId="{3D59E865-B3CD-4FB1-87EE-B17547F900D0}" type="presOf" srcId="{C657AF91-1E17-40EF-9890-50B43ED87700}" destId="{569DA3D3-C2E5-4089-A6F0-CF7A0DE5293E}" srcOrd="0" destOrd="5" presId="urn:microsoft.com/office/officeart/2005/8/layout/hList1"/>
    <dgm:cxn modelId="{E2FE5168-614E-4332-9434-C2A45F9788E4}" srcId="{AA0CC1A4-89B3-4AA2-AE39-4C1399639CA2}" destId="{0F8B0C98-A74B-4E44-B92F-2CAB105C195E}" srcOrd="4" destOrd="0" parTransId="{75ADCC08-01ED-4D06-A1CC-F0123111E0EE}" sibTransId="{5D083F13-5804-4978-8269-5CEC2CDF2CEE}"/>
    <dgm:cxn modelId="{F37D8A48-094D-4291-8663-3219EE933036}" type="presOf" srcId="{630C8C32-A979-40C7-BDD7-71A76577670D}" destId="{F9540AD5-4F34-4720-A853-23023519F2F5}" srcOrd="0" destOrd="0"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56200E4F-CCD6-4F7B-857D-4C07847374F7}" srcId="{639BF8EA-4D33-4B30-911B-6776BADCAC46}" destId="{B9E04480-191E-4EE4-B47A-C7D607722DD4}" srcOrd="4" destOrd="0" parTransId="{BAA74BFC-6D7F-4481-B325-0A977FA4DEB0}" sibTransId="{62E32415-EA97-4C50-B59F-BA185762F1ED}"/>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BFCC3057-757D-408F-B91D-CED24E8925F4}" srcId="{AA0CC1A4-89B3-4AA2-AE39-4C1399639CA2}" destId="{7A35B426-1F7B-470E-83C9-8B734CBF59CF}" srcOrd="3" destOrd="0" parTransId="{4D6F01C8-1B7B-4631-8135-A5886B2B0D75}" sibTransId="{C1D13965-F077-4D0D-AF66-F16ABF1EB9AC}"/>
    <dgm:cxn modelId="{9426DF58-2E78-4D03-BF93-B143EBABEBAC}" type="presOf" srcId="{CA39C776-1E27-4904-8DB3-2D5DD7EBBFFA}" destId="{569DA3D3-C2E5-4089-A6F0-CF7A0DE5293E}" srcOrd="0" destOrd="1" presId="urn:microsoft.com/office/officeart/2005/8/layout/hList1"/>
    <dgm:cxn modelId="{70EFA57B-C632-41A4-8FD1-52474CE9C91B}" srcId="{AA0CC1A4-89B3-4AA2-AE39-4C1399639CA2}" destId="{722059E4-A748-4A8B-8781-AB6D2D353394}" srcOrd="6" destOrd="0" parTransId="{E0F69483-11ED-4B91-9141-56F9A481AC2E}" sibTransId="{BF0F9C3A-7161-435E-B116-A646B86BE65D}"/>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AF7BF292-2C27-461D-853B-8C4CA561F6AD}" srcId="{5D730ECF-5E56-4BCC-9295-01AA7310EDA9}" destId="{CD46F9DC-3097-44BC-84D4-73B85CEB5AD8}" srcOrd="5" destOrd="0" parTransId="{F5D89BF0-17D8-44A5-BA06-5DED91DD8CC8}" sibTransId="{49003F09-2FDB-479F-BDDC-77A41BFD5C88}"/>
    <dgm:cxn modelId="{80D2EB97-FE6E-41F7-AAC0-D99588067CBF}" type="presOf" srcId="{0F8B0C98-A74B-4E44-B92F-2CAB105C195E}" destId="{FE6D297C-C9E0-4A7D-A12A-BA53DEE78AEC}" srcOrd="0" destOrd="4" presId="urn:microsoft.com/office/officeart/2005/8/layout/hList1"/>
    <dgm:cxn modelId="{8C63B698-8A4E-457D-994E-67C74BAEA65D}" srcId="{3F8F7C63-6D9D-4496-99F3-13DF66B8EAD6}" destId="{630C8C32-A979-40C7-BDD7-71A76577670D}" srcOrd="0" destOrd="0" parTransId="{A072B589-234B-4E81-93D6-F23076B69245}" sibTransId="{BC580252-AC53-48E5-98C9-B7684010D558}"/>
    <dgm:cxn modelId="{0ED3DF9B-E4B0-4681-95D2-1F1F9BB4BD14}" type="presOf" srcId="{CD46F9DC-3097-44BC-84D4-73B85CEB5AD8}" destId="{CD66AAD5-A74B-4989-8AD5-348B79FA87C7}" srcOrd="0" destOrd="5" presId="urn:microsoft.com/office/officeart/2005/8/layout/hList1"/>
    <dgm:cxn modelId="{F9C9F39C-7EC0-43C6-9FB2-54FA2A754ED4}" srcId="{5D730ECF-5E56-4BCC-9295-01AA7310EDA9}" destId="{DC1AB3C9-E76A-4172-85C2-F2254809A158}" srcOrd="1" destOrd="0" parTransId="{C5D9562B-6B57-4AC9-BF23-4DE294D9CCC0}" sibTransId="{166C141F-AA0E-4C97-B1EA-A06F2DE1C2CA}"/>
    <dgm:cxn modelId="{44C8BE9E-8A73-47DE-BA80-191BAB42247C}" type="presOf" srcId="{401F0372-7C1A-47C1-ADD7-711995422879}" destId="{569DA3D3-C2E5-4089-A6F0-CF7A0DE5293E}" srcOrd="0" destOrd="3"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6EF1EBA1-E49D-428D-BFC4-1C65518BD8D7}" type="presOf" srcId="{ACC56B55-B54D-4F97-A978-D694743ADE3E}" destId="{FE6D297C-C9E0-4A7D-A12A-BA53DEE78AEC}" srcOrd="0" destOrd="5" presId="urn:microsoft.com/office/officeart/2005/8/layout/hList1"/>
    <dgm:cxn modelId="{D1018BA4-D551-4AF8-AE83-3A349CE9146F}" type="presOf" srcId="{639BF8EA-4D33-4B30-911B-6776BADCAC46}" destId="{79AA2380-6C09-4C3E-A320-87D02EF11B92}" srcOrd="0" destOrd="0" presId="urn:microsoft.com/office/officeart/2005/8/layout/hList1"/>
    <dgm:cxn modelId="{B5363AA6-367E-4352-9210-91B6613AEB54}" srcId="{5D730ECF-5E56-4BCC-9295-01AA7310EDA9}" destId="{893E7C06-D653-47A6-AE1C-68D245AF3E64}" srcOrd="6" destOrd="0" parTransId="{3933C5AD-E0BA-4B92-AAA9-061A899CA552}" sibTransId="{2CB8B4CF-883F-4D1D-926C-DAE94DA4D2AC}"/>
    <dgm:cxn modelId="{EBA58CA9-A3CE-412F-9474-7EAFF04D075A}" srcId="{5D730ECF-5E56-4BCC-9295-01AA7310EDA9}" destId="{6F7084A3-F6F4-4055-8404-3AB7D7F43B45}" srcOrd="2" destOrd="0" parTransId="{FB834508-C913-4467-8009-DCEB15E722F0}" sibTransId="{06B3AF3A-C83F-448F-BA86-3585D21C19DD}"/>
    <dgm:cxn modelId="{B4E214AA-5BD0-42F3-AC2F-CDAC373FF126}" srcId="{3F8F7C63-6D9D-4496-99F3-13DF66B8EAD6}" destId="{0CF6FF1F-C08F-4FC3-A083-8DE69E9808EC}" srcOrd="4" destOrd="0" parTransId="{E2C68DD5-0B4D-46BB-8703-7E6E04774A00}" sibTransId="{69BB4931-D0E5-4586-B4A7-B24CFD9DD6C0}"/>
    <dgm:cxn modelId="{DC1AC8AC-9C09-4807-AF0C-A7962DB87579}" type="presOf" srcId="{6F7084A3-F6F4-4055-8404-3AB7D7F43B45}" destId="{CD66AAD5-A74B-4989-8AD5-348B79FA87C7}" srcOrd="0" destOrd="2"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6BE278C0-C94B-4C6B-AC78-409341D28AA8}" type="presOf" srcId="{DDB2D429-A54B-474B-9DCF-A0E6B52D46DA}" destId="{CD66AAD5-A74B-4989-8AD5-348B79FA87C7}" srcOrd="0" destOrd="4" presId="urn:microsoft.com/office/officeart/2005/8/layout/hList1"/>
    <dgm:cxn modelId="{FFB818C7-DF6C-47C8-B2DD-A5DB62320516}" type="presOf" srcId="{DC1AB3C9-E76A-4172-85C2-F2254809A158}" destId="{CD66AAD5-A74B-4989-8AD5-348B79FA87C7}" srcOrd="0" destOrd="1" presId="urn:microsoft.com/office/officeart/2005/8/layout/hList1"/>
    <dgm:cxn modelId="{71F5C5CE-76D8-4EC7-A21E-453AF89BD604}" srcId="{5D730ECF-5E56-4BCC-9295-01AA7310EDA9}" destId="{733AC198-8C9A-4B42-9E53-02CEB15F3C9F}" srcOrd="3" destOrd="0" parTransId="{0608B9E6-3495-41C4-8CB6-E742C70D3BD5}" sibTransId="{4C7AF5B8-74FC-4ECC-8F44-8EC6EDA79510}"/>
    <dgm:cxn modelId="{D4F09DD2-D7DC-4C0A-B107-20DDDF7554E9}" srcId="{639BF8EA-4D33-4B30-911B-6776BADCAC46}" destId="{8A005F68-872E-4565-97CF-5F934A8F7106}" srcOrd="0" destOrd="0" parTransId="{6458AC6F-FC93-49FE-B39E-B3BD37FC1330}" sibTransId="{88809219-9B02-4029-97B7-029D87354175}"/>
    <dgm:cxn modelId="{A9AB27D9-AB37-4556-8F6E-CCDE59F2CF86}" srcId="{AA0CC1A4-89B3-4AA2-AE39-4C1399639CA2}" destId="{54C72AF5-701B-4378-8525-F1DF460F34ED}" srcOrd="1" destOrd="0" parTransId="{5D5C2022-D69D-486A-9984-619FA0DA17BE}" sibTransId="{8D515924-C436-4473-8074-31B0016C1AC1}"/>
    <dgm:cxn modelId="{209C99E0-8A1B-44A9-A55C-D147A3A22902}" type="presOf" srcId="{7A35B426-1F7B-470E-83C9-8B734CBF59CF}" destId="{FE6D297C-C9E0-4A7D-A12A-BA53DEE78AEC}" srcOrd="0" destOrd="3"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B1CE40E7-C3CF-4975-A224-A2279AA3F9DB}" type="presOf" srcId="{3A49676A-F985-4612-8E3F-B09E7F5953A5}" destId="{FE6D297C-C9E0-4A7D-A12A-BA53DEE78AEC}" srcOrd="0" destOrd="2" presId="urn:microsoft.com/office/officeart/2005/8/layout/hList1"/>
    <dgm:cxn modelId="{D140A2EB-3F7E-42F4-996C-1F3B53C6C159}" type="presOf" srcId="{C6F6A35E-EF9D-42DB-9F6B-51AFF90BC98C}" destId="{FE6D297C-C9E0-4A7D-A12A-BA53DEE78AEC}" srcOrd="0" destOrd="0" presId="urn:microsoft.com/office/officeart/2005/8/layout/hList1"/>
    <dgm:cxn modelId="{B28E83F1-1224-4336-82E7-A73EF15B6468}" type="presOf" srcId="{893E7C06-D653-47A6-AE1C-68D245AF3E64}" destId="{CD66AAD5-A74B-4989-8AD5-348B79FA87C7}" srcOrd="0" destOrd="6" presId="urn:microsoft.com/office/officeart/2005/8/layout/hList1"/>
    <dgm:cxn modelId="{460982F2-6E3B-4E37-86A8-4DD66B6D22CF}" type="presOf" srcId="{B9E04480-191E-4EE4-B47A-C7D607722DD4}" destId="{569DA3D3-C2E5-4089-A6F0-CF7A0DE5293E}" srcOrd="0" destOrd="4" presId="urn:microsoft.com/office/officeart/2005/8/layout/hList1"/>
    <dgm:cxn modelId="{235AF3F2-4DC6-4ACE-9EC0-844AD822351F}" type="presOf" srcId="{8A005F68-872E-4565-97CF-5F934A8F7106}" destId="{569DA3D3-C2E5-4089-A6F0-CF7A0DE5293E}" srcOrd="0" destOrd="0" presId="urn:microsoft.com/office/officeart/2005/8/layout/hList1"/>
    <dgm:cxn modelId="{1A79C8F4-053A-42E7-9A59-549B72D27189}" srcId="{AA0CC1A4-89B3-4AA2-AE39-4C1399639CA2}" destId="{3A49676A-F985-4612-8E3F-B09E7F5953A5}" srcOrd="2" destOrd="0" parTransId="{373F37CE-C981-4F7A-B1CC-0C2867E61ADA}" sibTransId="{0F4E1333-36B3-49FC-BCE9-7962A7ABD1D4}"/>
    <dgm:cxn modelId="{371544FF-7059-4841-86CF-E5F6D0EA4AEB}" type="presOf" srcId="{722059E4-A748-4A8B-8781-AB6D2D353394}" destId="{FE6D297C-C9E0-4A7D-A12A-BA53DEE78AEC}" srcOrd="0" destOrd="6"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4219" y="408292"/>
          <a:ext cx="2537287" cy="1014914"/>
        </a:xfrm>
        <a:prstGeom prst="rect">
          <a:avLst/>
        </a:prstGeom>
        <a:solidFill>
          <a:schemeClr val="bg1">
            <a:lumMod val="65000"/>
          </a:schemeClr>
        </a:solidFill>
        <a:ln w="12700" cap="flat" cmpd="sng" algn="ctr">
          <a:solidFill>
            <a:srgbClr val="6600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4219" y="408292"/>
        <a:ext cx="2537287" cy="1014914"/>
      </dsp:txXfrm>
    </dsp:sp>
    <dsp:sp modelId="{F9540AD5-4F34-4720-A853-23023519F2F5}">
      <dsp:nvSpPr>
        <dsp:cNvPr id="0" name=""/>
        <dsp:cNvSpPr/>
      </dsp:nvSpPr>
      <dsp:spPr>
        <a:xfrm>
          <a:off x="4219"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219" y="1423207"/>
        <a:ext cx="2537287" cy="2854800"/>
      </dsp:txXfrm>
    </dsp:sp>
    <dsp:sp modelId="{A15940E0-E524-4386-893B-E5C857ACD0DE}">
      <dsp:nvSpPr>
        <dsp:cNvPr id="0" name=""/>
        <dsp:cNvSpPr/>
      </dsp:nvSpPr>
      <dsp:spPr>
        <a:xfrm>
          <a:off x="2896726"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 Part II</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896726" y="408292"/>
        <a:ext cx="2537287" cy="1014914"/>
      </dsp:txXfrm>
    </dsp:sp>
    <dsp:sp modelId="{CD66AAD5-A74B-4989-8AD5-348B79FA87C7}">
      <dsp:nvSpPr>
        <dsp:cNvPr id="0" name=""/>
        <dsp:cNvSpPr/>
      </dsp:nvSpPr>
      <dsp:spPr>
        <a:xfrm>
          <a:off x="2896726"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 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 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896726" y="1423207"/>
        <a:ext cx="2537287" cy="2854800"/>
      </dsp:txXfrm>
    </dsp:sp>
    <dsp:sp modelId="{6D51457A-C3C5-41AF-B616-CDB4705EBFBD}">
      <dsp:nvSpPr>
        <dsp:cNvPr id="0" name=""/>
        <dsp:cNvSpPr/>
      </dsp:nvSpPr>
      <dsp:spPr>
        <a:xfrm>
          <a:off x="5789234"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 Part I</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5789234" y="408292"/>
        <a:ext cx="2537287" cy="1014914"/>
      </dsp:txXfrm>
    </dsp:sp>
    <dsp:sp modelId="{FE6D297C-C9E0-4A7D-A12A-BA53DEE78AEC}">
      <dsp:nvSpPr>
        <dsp:cNvPr id="0" name=""/>
        <dsp:cNvSpPr/>
      </dsp:nvSpPr>
      <dsp:spPr>
        <a:xfrm>
          <a:off x="5789234"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err="1"/>
            <a:t>Datavers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789234" y="1423207"/>
        <a:ext cx="2537287" cy="2854800"/>
      </dsp:txXfrm>
    </dsp:sp>
    <dsp:sp modelId="{79AA2380-6C09-4C3E-A320-87D02EF11B92}">
      <dsp:nvSpPr>
        <dsp:cNvPr id="0" name=""/>
        <dsp:cNvSpPr/>
      </dsp:nvSpPr>
      <dsp:spPr>
        <a:xfrm>
          <a:off x="8681741" y="408292"/>
          <a:ext cx="2537287" cy="1014914"/>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 – Part II</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8681741" y="408292"/>
        <a:ext cx="2537287" cy="1014914"/>
      </dsp:txXfrm>
    </dsp:sp>
    <dsp:sp modelId="{569DA3D3-C2E5-4089-A6F0-CF7A0DE5293E}">
      <dsp:nvSpPr>
        <dsp:cNvPr id="0" name=""/>
        <dsp:cNvSpPr/>
      </dsp:nvSpPr>
      <dsp:spPr>
        <a:xfrm>
          <a:off x="8681741" y="1423207"/>
          <a:ext cx="2537287" cy="285480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8681741" y="1423207"/>
        <a:ext cx="2537287" cy="2854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6/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6/2021 1:42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6/2021 1: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6/2021 1:4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8/16/2021</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8/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8/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8/1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8/16/2021</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6/2021</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8/16/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6/08/2021</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image" Target="../media/image6.emf"/><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theme" Target="../theme/theme8.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image" Target="../media/image59.png"/><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theme" Target="../theme/theme9.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6/08/2021</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70.svg"/><Relationship Id="rId3" Type="http://schemas.microsoft.com/office/2018/10/relationships/comments" Target="../comments/modernComment_7BBF5832_72B077DC.xml"/><Relationship Id="rId7" Type="http://schemas.openxmlformats.org/officeDocument/2006/relationships/image" Target="../media/image69.pn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BBF555C_1D4579CB.xml"/><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image" Target="../media/image62.png"/><Relationship Id="rId4"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microsoft.com/office/2018/10/relationships/comments" Target="../comments/modernComment_7BBF582C_7916BD30.xml"/><Relationship Id="rId7" Type="http://schemas.openxmlformats.org/officeDocument/2006/relationships/diagramColors" Target="../diagrams/colors2.xml"/><Relationship Id="rId2" Type="http://schemas.openxmlformats.org/officeDocument/2006/relationships/notesSlide" Target="../notesSlides/notesSlide8.xml"/><Relationship Id="rId1" Type="http://schemas.openxmlformats.org/officeDocument/2006/relationships/slideLayout" Target="../slideLayouts/slideLayout22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microsoft.com/office/2018/10/relationships/comments" Target="../comments/modernComment_7BBF56CE_FAE02A9C.xml"/><Relationship Id="rId2" Type="http://schemas.openxmlformats.org/officeDocument/2006/relationships/notesSlide" Target="../notesSlides/notesSlide9.xml"/><Relationship Id="rId1" Type="http://schemas.openxmlformats.org/officeDocument/2006/relationships/slideLayout" Target="../slideLayouts/slideLayout22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4"/>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726058787"/>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sp>
        <p:nvSpPr>
          <p:cNvPr id="5" name="Rectangle 4">
            <a:extLst>
              <a:ext uri="{FF2B5EF4-FFF2-40B4-BE49-F238E27FC236}">
                <a16:creationId xmlns:a16="http://schemas.microsoft.com/office/drawing/2014/main" id="{9DE0A7F5-8A16-4C05-8756-26E0D4E3F399}"/>
              </a:ext>
            </a:extLst>
          </p:cNvPr>
          <p:cNvSpPr/>
          <p:nvPr/>
        </p:nvSpPr>
        <p:spPr>
          <a:xfrm>
            <a:off x="539215" y="1404257"/>
            <a:ext cx="11223248" cy="4686300"/>
          </a:xfrm>
          <a:prstGeom prst="rect">
            <a:avLst/>
          </a:prstGeom>
          <a:noFill/>
        </p:spPr>
      </p:sp>
      <p:sp>
        <p:nvSpPr>
          <p:cNvPr id="6" name="Freeform: Shape 5">
            <a:extLst>
              <a:ext uri="{FF2B5EF4-FFF2-40B4-BE49-F238E27FC236}">
                <a16:creationId xmlns:a16="http://schemas.microsoft.com/office/drawing/2014/main" id="{7754C451-83C4-464A-A9EB-0B6810D2A478}"/>
              </a:ext>
            </a:extLst>
          </p:cNvPr>
          <p:cNvSpPr/>
          <p:nvPr/>
        </p:nvSpPr>
        <p:spPr>
          <a:xfrm>
            <a:off x="3265122"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rgbClr val="7030A0"/>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 – Part II</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p:txBody>
      </p:sp>
      <p:sp>
        <p:nvSpPr>
          <p:cNvPr id="7" name="Freeform: Shape 6">
            <a:extLst>
              <a:ext uri="{FF2B5EF4-FFF2-40B4-BE49-F238E27FC236}">
                <a16:creationId xmlns:a16="http://schemas.microsoft.com/office/drawing/2014/main" id="{646204BF-FD4C-4086-B422-F2D11E506B0D}"/>
              </a:ext>
            </a:extLst>
          </p:cNvPr>
          <p:cNvSpPr/>
          <p:nvPr/>
        </p:nvSpPr>
        <p:spPr>
          <a:xfrm>
            <a:off x="3265122"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8" name="Freeform: Shape 7">
            <a:extLst>
              <a:ext uri="{FF2B5EF4-FFF2-40B4-BE49-F238E27FC236}">
                <a16:creationId xmlns:a16="http://schemas.microsoft.com/office/drawing/2014/main" id="{E80F79C6-2FF1-4C54-A0C8-CC9538AE0418}"/>
              </a:ext>
            </a:extLst>
          </p:cNvPr>
          <p:cNvSpPr/>
          <p:nvPr/>
        </p:nvSpPr>
        <p:spPr>
          <a:xfrm>
            <a:off x="6157629"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chemeClr val="bg1">
              <a:lumMod val="65000"/>
            </a:schemeClr>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p:txBody>
      </p:sp>
      <p:sp>
        <p:nvSpPr>
          <p:cNvPr id="9" name="Freeform: Shape 8">
            <a:extLst>
              <a:ext uri="{FF2B5EF4-FFF2-40B4-BE49-F238E27FC236}">
                <a16:creationId xmlns:a16="http://schemas.microsoft.com/office/drawing/2014/main" id="{7F36CF60-97E0-4F40-BA06-7F73DC5D5CAF}"/>
              </a:ext>
            </a:extLst>
          </p:cNvPr>
          <p:cNvSpPr/>
          <p:nvPr/>
        </p:nvSpPr>
        <p:spPr>
          <a:xfrm>
            <a:off x="6157629"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10" name="Freeform: Shape 9">
            <a:extLst>
              <a:ext uri="{FF2B5EF4-FFF2-40B4-BE49-F238E27FC236}">
                <a16:creationId xmlns:a16="http://schemas.microsoft.com/office/drawing/2014/main" id="{5912485C-98BC-4401-A569-6DE6E22FD822}"/>
              </a:ext>
            </a:extLst>
          </p:cNvPr>
          <p:cNvSpPr/>
          <p:nvPr/>
        </p:nvSpPr>
        <p:spPr>
          <a:xfrm>
            <a:off x="9050137"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chemeClr val="bg1">
              <a:lumMod val="65000"/>
            </a:schemeClr>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 – Part II</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p:txBody>
      </p:sp>
      <p:sp>
        <p:nvSpPr>
          <p:cNvPr id="11" name="Freeform: Shape 10">
            <a:extLst>
              <a:ext uri="{FF2B5EF4-FFF2-40B4-BE49-F238E27FC236}">
                <a16:creationId xmlns:a16="http://schemas.microsoft.com/office/drawing/2014/main" id="{70041BB2-A441-4BDE-8A43-449A8B2F6ACF}"/>
              </a:ext>
            </a:extLst>
          </p:cNvPr>
          <p:cNvSpPr/>
          <p:nvPr/>
        </p:nvSpPr>
        <p:spPr>
          <a:xfrm>
            <a:off x="9050137" y="2782858"/>
            <a:ext cx="2537287" cy="2944012"/>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p:txBody>
      </p:sp>
      <p:sp>
        <p:nvSpPr>
          <p:cNvPr id="14" name="Freeform: Shape 13">
            <a:extLst>
              <a:ext uri="{FF2B5EF4-FFF2-40B4-BE49-F238E27FC236}">
                <a16:creationId xmlns:a16="http://schemas.microsoft.com/office/drawing/2014/main" id="{7A15469C-A87B-4A54-AE10-DB95505DE29E}"/>
              </a:ext>
            </a:extLst>
          </p:cNvPr>
          <p:cNvSpPr/>
          <p:nvPr/>
        </p:nvSpPr>
        <p:spPr>
          <a:xfrm>
            <a:off x="579844" y="1767943"/>
            <a:ext cx="2537287" cy="1014914"/>
          </a:xfrm>
          <a:custGeom>
            <a:avLst/>
            <a:gdLst>
              <a:gd name="connsiteX0" fmla="*/ 0 w 2537287"/>
              <a:gd name="connsiteY0" fmla="*/ 0 h 1014914"/>
              <a:gd name="connsiteX1" fmla="*/ 2537287 w 2537287"/>
              <a:gd name="connsiteY1" fmla="*/ 0 h 1014914"/>
              <a:gd name="connsiteX2" fmla="*/ 2537287 w 2537287"/>
              <a:gd name="connsiteY2" fmla="*/ 1014914 h 1014914"/>
              <a:gd name="connsiteX3" fmla="*/ 0 w 2537287"/>
              <a:gd name="connsiteY3" fmla="*/ 1014914 h 1014914"/>
              <a:gd name="connsiteX4" fmla="*/ 0 w 2537287"/>
              <a:gd name="connsiteY4" fmla="*/ 0 h 101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1014914">
                <a:moveTo>
                  <a:pt x="0" y="0"/>
                </a:moveTo>
                <a:lnTo>
                  <a:pt x="2537287" y="0"/>
                </a:lnTo>
                <a:lnTo>
                  <a:pt x="2537287" y="1014914"/>
                </a:lnTo>
                <a:lnTo>
                  <a:pt x="0" y="1014914"/>
                </a:lnTo>
                <a:lnTo>
                  <a:pt x="0" y="0"/>
                </a:lnTo>
                <a:close/>
              </a:path>
            </a:pathLst>
          </a:custGeom>
          <a:solidFill>
            <a:srgbClr val="7030A0"/>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8232" tIns="44704" rIns="78232" bIns="44704" numCol="1" spcCol="1270" anchor="ctr" anchorCtr="0">
            <a:noAutofit/>
          </a:bodyPr>
          <a:lstStyle/>
          <a:p>
            <a:pPr lvl="0" algn="ctr"/>
            <a:r>
              <a:rPr lang="en-AU" sz="1100" dirty="0"/>
              <a:t>Day 3 – Part I</a:t>
            </a:r>
          </a:p>
          <a:p>
            <a:pPr lvl="0" algn="ctr"/>
            <a:r>
              <a:rPr lang="en-US" sz="1100" dirty="0"/>
              <a:t>Power Packed Day with Power Agents</a:t>
            </a:r>
            <a:endParaRPr lang="en-AU" sz="1100" dirty="0"/>
          </a:p>
        </p:txBody>
      </p:sp>
      <p:sp>
        <p:nvSpPr>
          <p:cNvPr id="15" name="Freeform: Shape 14">
            <a:extLst>
              <a:ext uri="{FF2B5EF4-FFF2-40B4-BE49-F238E27FC236}">
                <a16:creationId xmlns:a16="http://schemas.microsoft.com/office/drawing/2014/main" id="{8F9D2DB2-C8B4-4BF4-A640-BED8384D6E41}"/>
              </a:ext>
            </a:extLst>
          </p:cNvPr>
          <p:cNvSpPr/>
          <p:nvPr/>
        </p:nvSpPr>
        <p:spPr>
          <a:xfrm>
            <a:off x="579844" y="2782857"/>
            <a:ext cx="2537287" cy="3307699"/>
          </a:xfrm>
          <a:custGeom>
            <a:avLst/>
            <a:gdLst>
              <a:gd name="connsiteX0" fmla="*/ 0 w 2537287"/>
              <a:gd name="connsiteY0" fmla="*/ 0 h 2944012"/>
              <a:gd name="connsiteX1" fmla="*/ 2537287 w 2537287"/>
              <a:gd name="connsiteY1" fmla="*/ 0 h 2944012"/>
              <a:gd name="connsiteX2" fmla="*/ 2537287 w 2537287"/>
              <a:gd name="connsiteY2" fmla="*/ 2944012 h 2944012"/>
              <a:gd name="connsiteX3" fmla="*/ 0 w 2537287"/>
              <a:gd name="connsiteY3" fmla="*/ 2944012 h 2944012"/>
              <a:gd name="connsiteX4" fmla="*/ 0 w 2537287"/>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7287" h="2944012">
                <a:moveTo>
                  <a:pt x="0" y="0"/>
                </a:moveTo>
                <a:lnTo>
                  <a:pt x="2537287" y="0"/>
                </a:lnTo>
                <a:lnTo>
                  <a:pt x="2537287" y="2944012"/>
                </a:lnTo>
                <a:lnTo>
                  <a:pt x="0" y="2944012"/>
                </a:lnTo>
                <a:lnTo>
                  <a:pt x="0" y="0"/>
                </a:lnTo>
                <a:close/>
              </a:path>
            </a:pathLst>
          </a:custGeom>
          <a:no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lvl="0">
              <a:lnSpc>
                <a:spcPct val="150000"/>
              </a:lnSpc>
              <a:buFont typeface="Wingdings" panose="05000000000000000000" pitchFamily="2" charset="2"/>
              <a:buChar char="ü"/>
            </a:pPr>
            <a:r>
              <a:rPr lang="en-GB" sz="1100" dirty="0"/>
              <a:t>Introduction</a:t>
            </a:r>
            <a:endParaRPr lang="en-AU" sz="1100" dirty="0"/>
          </a:p>
          <a:p>
            <a:pPr lvl="0">
              <a:lnSpc>
                <a:spcPct val="150000"/>
              </a:lnSpc>
              <a:buFont typeface="Wingdings" panose="05000000000000000000" pitchFamily="2" charset="2"/>
              <a:buChar char="ü"/>
            </a:pPr>
            <a:r>
              <a:rPr lang="en-US" sz="1100" dirty="0"/>
              <a:t>A Robust Virtual Agent Platform</a:t>
            </a:r>
            <a:endParaRPr lang="en-GB" sz="1100" dirty="0"/>
          </a:p>
          <a:p>
            <a:pPr lvl="0">
              <a:lnSpc>
                <a:spcPct val="150000"/>
              </a:lnSpc>
              <a:buFont typeface="Wingdings" panose="05000000000000000000" pitchFamily="2" charset="2"/>
              <a:buChar char="ü"/>
            </a:pPr>
            <a:r>
              <a:rPr lang="en-GB" sz="1100" dirty="0"/>
              <a:t>Converse everywhere</a:t>
            </a:r>
          </a:p>
          <a:p>
            <a:pPr lvl="0">
              <a:lnSpc>
                <a:spcPct val="150000"/>
              </a:lnSpc>
              <a:buFont typeface="Wingdings" panose="05000000000000000000" pitchFamily="2" charset="2"/>
              <a:buChar char="ü"/>
            </a:pPr>
            <a:r>
              <a:rPr lang="en-US" sz="1100" dirty="0"/>
              <a:t>Easily make your bots better</a:t>
            </a:r>
            <a:endParaRPr lang="en-GB" sz="1100" dirty="0"/>
          </a:p>
          <a:p>
            <a:pPr lvl="0">
              <a:lnSpc>
                <a:spcPct val="150000"/>
              </a:lnSpc>
              <a:buFont typeface="Wingdings" panose="05000000000000000000" pitchFamily="2" charset="2"/>
              <a:buChar char="ü"/>
            </a:pPr>
            <a:r>
              <a:rPr lang="en-GB" sz="1100" dirty="0"/>
              <a:t>Create personalized customer experiences</a:t>
            </a:r>
          </a:p>
          <a:p>
            <a:pPr lvl="0">
              <a:lnSpc>
                <a:spcPct val="150000"/>
              </a:lnSpc>
              <a:buFont typeface="Wingdings" panose="05000000000000000000" pitchFamily="2" charset="2"/>
              <a:buChar char="ü"/>
            </a:pPr>
            <a:r>
              <a:rPr lang="en-US" sz="1100" dirty="0"/>
              <a:t>Transfer to a human agent</a:t>
            </a:r>
            <a:endParaRPr lang="en-GB" sz="1100" dirty="0"/>
          </a:p>
          <a:p>
            <a:pPr lvl="0">
              <a:lnSpc>
                <a:spcPct val="150000"/>
              </a:lnSpc>
              <a:buFont typeface="Wingdings" panose="05000000000000000000" pitchFamily="2" charset="2"/>
              <a:buChar char="ü"/>
            </a:pPr>
            <a:r>
              <a:rPr lang="en-US" sz="1100" dirty="0"/>
              <a:t>Built on Power Platform &amp; Azure Bot Service</a:t>
            </a:r>
            <a:endParaRPr lang="en-GB" sz="1100" dirty="0"/>
          </a:p>
          <a:p>
            <a:pPr lvl="0">
              <a:lnSpc>
                <a:spcPct val="150000"/>
              </a:lnSpc>
              <a:buFont typeface="Wingdings" panose="05000000000000000000" pitchFamily="2" charset="2"/>
              <a:buChar char="ü"/>
            </a:pPr>
            <a:r>
              <a:rPr lang="en-US" sz="1100" dirty="0"/>
              <a:t>Extend your bot capabilities with Azure Bot Service</a:t>
            </a:r>
            <a:endParaRPr lang="en-GB" sz="1100" dirty="0"/>
          </a:p>
          <a:p>
            <a:pPr lvl="0">
              <a:lnSpc>
                <a:spcPct val="150000"/>
              </a:lnSpc>
              <a:buFont typeface="Wingdings" panose="05000000000000000000" pitchFamily="2" charset="2"/>
              <a:buChar char="ü"/>
            </a:pPr>
            <a:r>
              <a:rPr lang="en-GB" sz="1100" dirty="0"/>
              <a:t>Demo</a:t>
            </a:r>
          </a:p>
        </p:txBody>
      </p:sp>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3: Power Packed Day with Power Virtual Agents – Part I</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86</TotalTime>
  <Words>1417</Words>
  <Application>Microsoft Office PowerPoint</Application>
  <PresentationFormat>Widescreen</PresentationFormat>
  <Paragraphs>262</Paragraphs>
  <Slides>22</Slides>
  <Notes>20</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2</vt:i4>
      </vt:variant>
    </vt:vector>
  </HeadingPairs>
  <TitlesOfParts>
    <vt:vector size="42"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cp:lastModifiedBy>
  <cp:revision>112</cp:revision>
  <dcterms:created xsi:type="dcterms:W3CDTF">2020-02-12T12:44:10Z</dcterms:created>
  <dcterms:modified xsi:type="dcterms:W3CDTF">2021-08-15T20:13:55Z</dcterms:modified>
</cp:coreProperties>
</file>